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8"/>
  </p:notesMasterIdLst>
  <p:sldIdLst>
    <p:sldId id="256" r:id="rId2"/>
    <p:sldId id="278" r:id="rId3"/>
    <p:sldId id="282" r:id="rId4"/>
    <p:sldId id="283" r:id="rId5"/>
    <p:sldId id="279" r:id="rId6"/>
    <p:sldId id="281" r:id="rId7"/>
  </p:sldIdLst>
  <p:sldSz cx="9144000" cy="6858000" type="screen4x3"/>
  <p:notesSz cx="7772400" cy="10058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97" autoAdjust="0"/>
    <p:restoredTop sz="94660"/>
  </p:normalViewPr>
  <p:slideViewPr>
    <p:cSldViewPr snapToGrid="0">
      <p:cViewPr>
        <p:scale>
          <a:sx n="90" d="100"/>
          <a:sy n="90" d="100"/>
        </p:scale>
        <p:origin x="90" y="-10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q-A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02138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640F48-80EF-4125-BCBC-F14FF0076E4C}" type="datetimeFigureOut">
              <a:rPr lang="sq-AL" smtClean="0"/>
              <a:t>31.5.2018</a:t>
            </a:fld>
            <a:endParaRPr lang="sq-A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24013" y="1257300"/>
            <a:ext cx="4524375" cy="339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q-A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77875" y="4840288"/>
            <a:ext cx="6216650" cy="39608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q-A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q-A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402138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DFCC7E-0593-4431-9A98-197DC6256319}" type="slidenum">
              <a:rPr lang="sq-AL" smtClean="0"/>
              <a:t>‹#›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470706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q-A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DFCC7E-0593-4431-9A98-197DC6256319}" type="slidenum">
              <a:rPr lang="sq-AL" smtClean="0"/>
              <a:t>1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3216194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22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822924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457200" y="3964320"/>
            <a:ext cx="822924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30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31" name="PlaceHolder 3"/>
          <p:cNvSpPr>
            <a:spLocks noGrp="1"/>
          </p:cNvSpPr>
          <p:nvPr>
            <p:ph type="body"/>
          </p:nvPr>
        </p:nvSpPr>
        <p:spPr>
          <a:xfrm>
            <a:off x="4674240" y="160020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32" name="PlaceHolder 4"/>
          <p:cNvSpPr>
            <a:spLocks noGrp="1"/>
          </p:cNvSpPr>
          <p:nvPr>
            <p:ph type="body"/>
          </p:nvPr>
        </p:nvSpPr>
        <p:spPr>
          <a:xfrm>
            <a:off x="4674240" y="396432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33" name="PlaceHolder 5"/>
          <p:cNvSpPr>
            <a:spLocks noGrp="1"/>
          </p:cNvSpPr>
          <p:nvPr>
            <p:ph type="body"/>
          </p:nvPr>
        </p:nvSpPr>
        <p:spPr>
          <a:xfrm>
            <a:off x="457200" y="396432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35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8229240" cy="4525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36" name="PlaceHolder 3"/>
          <p:cNvSpPr>
            <a:spLocks noGrp="1"/>
          </p:cNvSpPr>
          <p:nvPr>
            <p:ph type="body"/>
          </p:nvPr>
        </p:nvSpPr>
        <p:spPr>
          <a:xfrm>
            <a:off x="457200" y="1600200"/>
            <a:ext cx="8229240" cy="4525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pic>
        <p:nvPicPr>
          <p:cNvPr id="37" name="Picture 36"/>
          <p:cNvPicPr/>
          <p:nvPr/>
        </p:nvPicPr>
        <p:blipFill>
          <a:blip r:embed="rId2"/>
          <a:stretch/>
        </p:blipFill>
        <p:spPr>
          <a:xfrm>
            <a:off x="1735560" y="1599840"/>
            <a:ext cx="5671800" cy="4525560"/>
          </a:xfrm>
          <a:prstGeom prst="rect">
            <a:avLst/>
          </a:prstGeom>
          <a:ln>
            <a:noFill/>
          </a:ln>
        </p:spPr>
      </p:pic>
      <p:pic>
        <p:nvPicPr>
          <p:cNvPr id="38" name="Picture 37"/>
          <p:cNvPicPr/>
          <p:nvPr/>
        </p:nvPicPr>
        <p:blipFill>
          <a:blip r:embed="rId2"/>
          <a:stretch/>
        </p:blipFill>
        <p:spPr>
          <a:xfrm>
            <a:off x="1735560" y="1599840"/>
            <a:ext cx="5671800" cy="452556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3CBFB-D486-4F98-B194-F1E47EFE1DC1}" type="datetimeFigureOut">
              <a:rPr lang="en-US" smtClean="0"/>
              <a:pPr/>
              <a:t>5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1380E-6D0D-4913-8EEE-BD32A59EA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556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200" y="1600200"/>
            <a:ext cx="8229240" cy="45255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8229240" cy="4525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4015800" cy="4525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11" name="PlaceHolder 3"/>
          <p:cNvSpPr>
            <a:spLocks noGrp="1"/>
          </p:cNvSpPr>
          <p:nvPr>
            <p:ph type="body"/>
          </p:nvPr>
        </p:nvSpPr>
        <p:spPr>
          <a:xfrm>
            <a:off x="4674240" y="1600200"/>
            <a:ext cx="4015800" cy="4525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subTitle"/>
          </p:nvPr>
        </p:nvSpPr>
        <p:spPr>
          <a:xfrm>
            <a:off x="457200" y="274680"/>
            <a:ext cx="8229240" cy="52977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15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16" name="PlaceHolder 3"/>
          <p:cNvSpPr>
            <a:spLocks noGrp="1"/>
          </p:cNvSpPr>
          <p:nvPr>
            <p:ph type="body"/>
          </p:nvPr>
        </p:nvSpPr>
        <p:spPr>
          <a:xfrm>
            <a:off x="457200" y="396432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17" name="PlaceHolder 4"/>
          <p:cNvSpPr>
            <a:spLocks noGrp="1"/>
          </p:cNvSpPr>
          <p:nvPr>
            <p:ph type="body"/>
          </p:nvPr>
        </p:nvSpPr>
        <p:spPr>
          <a:xfrm>
            <a:off x="4674240" y="1600200"/>
            <a:ext cx="4015800" cy="4525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19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4015800" cy="4525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0" name="PlaceHolder 3"/>
          <p:cNvSpPr>
            <a:spLocks noGrp="1"/>
          </p:cNvSpPr>
          <p:nvPr>
            <p:ph type="body"/>
          </p:nvPr>
        </p:nvSpPr>
        <p:spPr>
          <a:xfrm>
            <a:off x="4674240" y="160020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1" name="PlaceHolder 4"/>
          <p:cNvSpPr>
            <a:spLocks noGrp="1"/>
          </p:cNvSpPr>
          <p:nvPr>
            <p:ph type="body"/>
          </p:nvPr>
        </p:nvSpPr>
        <p:spPr>
          <a:xfrm>
            <a:off x="4674240" y="396432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 type="body"/>
          </p:nvPr>
        </p:nvSpPr>
        <p:spPr>
          <a:xfrm>
            <a:off x="4674240" y="1600200"/>
            <a:ext cx="401580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 type="body"/>
          </p:nvPr>
        </p:nvSpPr>
        <p:spPr>
          <a:xfrm>
            <a:off x="457200" y="3964320"/>
            <a:ext cx="8229240" cy="215856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03662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7" imgW="378" imgH="379" progId="TCLayout.ActiveDocument.1">
                  <p:embed/>
                </p:oleObj>
              </mc:Choice>
              <mc:Fallback>
                <p:oleObj name="think-cell Slide" r:id="rId17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4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Click to edit Master title style</a:t>
            </a:r>
            <a:endParaRPr lang="en-US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body"/>
          </p:nvPr>
        </p:nvSpPr>
        <p:spPr>
          <a:xfrm>
            <a:off x="457200" y="1600200"/>
            <a:ext cx="8229240" cy="4525560"/>
          </a:xfrm>
          <a:prstGeom prst="rect">
            <a:avLst/>
          </a:prstGeom>
        </p:spPr>
        <p:txBody>
          <a:bodyPr/>
          <a:lstStyle/>
          <a:p>
            <a:pPr marL="432000" indent="-324000"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3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Click to edit the outline text format</a:t>
            </a:r>
          </a:p>
          <a:p>
            <a:pPr marL="864000" lvl="1" indent="-324000"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3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Second Outline Level</a:t>
            </a:r>
          </a:p>
          <a:p>
            <a:pPr marL="1296000" lvl="2" indent="-288000"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3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Third Outline Level</a:t>
            </a:r>
          </a:p>
          <a:p>
            <a:pPr marL="1728000" lvl="3" indent="-216000"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3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Fourth Outline Level</a:t>
            </a:r>
          </a:p>
          <a:p>
            <a:pPr marL="2160000" lvl="4" indent="-216000"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3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Fifth Outline Level</a:t>
            </a:r>
          </a:p>
          <a:p>
            <a:pPr marL="2592000" lvl="5" indent="-216000"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3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Sixth Outline Level</a:t>
            </a:r>
          </a:p>
          <a:p>
            <a:pPr marL="343080" indent="-34272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en-US" sz="3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Seventh Outline LevelClick to edit Master text styles</a:t>
            </a:r>
          </a:p>
          <a:p>
            <a:pPr marL="743040" lvl="1" indent="-285480">
              <a:lnSpc>
                <a:spcPct val="100000"/>
              </a:lnSpc>
              <a:buClr>
                <a:srgbClr val="000000"/>
              </a:buClr>
              <a:buFont typeface="Arial"/>
              <a:buChar char="–"/>
            </a:pPr>
            <a:r>
              <a:rPr lang="en-US" sz="28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Second level</a:t>
            </a:r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1143000" lvl="2" indent="-22824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en-US" sz="2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Third level</a:t>
            </a:r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1600200" lvl="3" indent="-228240">
              <a:lnSpc>
                <a:spcPct val="100000"/>
              </a:lnSpc>
              <a:buClr>
                <a:srgbClr val="000000"/>
              </a:buClr>
              <a:buFont typeface="Arial"/>
              <a:buChar char="–"/>
            </a:pPr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Fourth level</a:t>
            </a:r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2057400" lvl="4" indent="-228240">
              <a:lnSpc>
                <a:spcPct val="100000"/>
              </a:lnSpc>
              <a:buClr>
                <a:srgbClr val="000000"/>
              </a:buClr>
              <a:buFont typeface="Arial"/>
              <a:buChar char="»"/>
            </a:pPr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Fifth level</a:t>
            </a:r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2" name="PlaceHolder 3"/>
          <p:cNvSpPr>
            <a:spLocks noGrp="1"/>
          </p:cNvSpPr>
          <p:nvPr>
            <p:ph type="dt"/>
          </p:nvPr>
        </p:nvSpPr>
        <p:spPr>
          <a:xfrm>
            <a:off x="457200" y="6356520"/>
            <a:ext cx="2133360" cy="364680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1200" b="0" strike="noStrike" spc="-1">
                <a:solidFill>
                  <a:srgbClr val="8B8B8B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3/5/18</a:t>
            </a:r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  <p:sp>
        <p:nvSpPr>
          <p:cNvPr id="3" name="PlaceHolder 4"/>
          <p:cNvSpPr>
            <a:spLocks noGrp="1"/>
          </p:cNvSpPr>
          <p:nvPr>
            <p:ph type="ftr"/>
          </p:nvPr>
        </p:nvSpPr>
        <p:spPr>
          <a:xfrm>
            <a:off x="3124080" y="6356520"/>
            <a:ext cx="2895120" cy="364680"/>
          </a:xfrm>
          <a:prstGeom prst="rect">
            <a:avLst/>
          </a:prstGeom>
        </p:spPr>
        <p:txBody>
          <a:bodyPr anchor="ctr"/>
          <a:lstStyle/>
          <a:p>
            <a:endParaRPr lang="en-US" sz="2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  <p:sp>
        <p:nvSpPr>
          <p:cNvPr id="4" name="PlaceHolder 5"/>
          <p:cNvSpPr>
            <a:spLocks noGrp="1"/>
          </p:cNvSpPr>
          <p:nvPr>
            <p:ph type="sldNum"/>
          </p:nvPr>
        </p:nvSpPr>
        <p:spPr>
          <a:xfrm>
            <a:off x="6553080" y="6356520"/>
            <a:ext cx="2133360" cy="364680"/>
          </a:xfrm>
          <a:prstGeom prst="rect">
            <a:avLst/>
          </a:prstGeom>
        </p:spPr>
        <p:txBody>
          <a:bodyPr anchor="ctr"/>
          <a:lstStyle/>
          <a:p>
            <a:pPr algn="r">
              <a:lnSpc>
                <a:spcPct val="100000"/>
              </a:lnSpc>
            </a:pPr>
            <a:fld id="{51ACD288-E897-488D-8EDF-47C4BB787424}" type="slidenum">
              <a:rPr lang="en-US" sz="1200" b="0" strike="noStrike" spc="-1">
                <a:solidFill>
                  <a:srgbClr val="8B8B8B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‹#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pefa%20evaluation.docx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Shape 1"/>
          <p:cNvSpPr txBox="1"/>
          <p:nvPr/>
        </p:nvSpPr>
        <p:spPr>
          <a:xfrm>
            <a:off x="441158" y="2142309"/>
            <a:ext cx="8229240" cy="397981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algn="ctr">
              <a:lnSpc>
                <a:spcPct val="100000"/>
              </a:lnSpc>
            </a:pPr>
            <a:br>
              <a:rPr lang="en-US" sz="5400" b="1" strike="noStrike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</a:br>
            <a:r>
              <a:rPr lang="ru-RU" sz="5400" b="1" strike="noStrike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КАЗНАЧЕЙСТВО</a:t>
            </a:r>
            <a:endParaRPr lang="en-US" sz="5400" strike="noStrike" spc="-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algn="ctr">
              <a:lnSpc>
                <a:spcPct val="100000"/>
              </a:lnSpc>
            </a:pPr>
            <a:r>
              <a:rPr lang="ru-RU" sz="5400" strike="noStrike" spc="-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Республики Косово</a:t>
            </a:r>
            <a:endParaRPr lang="en-US" sz="5400" spc="-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algn="ctr">
              <a:lnSpc>
                <a:spcPct val="100000"/>
              </a:lnSpc>
            </a:pPr>
            <a:endParaRPr lang="en-US" sz="5400" b="1" strike="noStrike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algn="ctr">
              <a:lnSpc>
                <a:spcPct val="100000"/>
              </a:lnSpc>
            </a:pPr>
            <a:r>
              <a:rPr lang="ru-RU" sz="2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22 мая </a:t>
            </a:r>
            <a:r>
              <a:rPr lang="en-US" sz="2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2018</a:t>
            </a:r>
            <a:r>
              <a:rPr lang="ru-RU" sz="2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г.</a:t>
            </a:r>
            <a:endParaRPr lang="en-US" sz="2400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algn="ctr">
              <a:lnSpc>
                <a:spcPct val="100000"/>
              </a:lnSpc>
            </a:pPr>
            <a:r>
              <a:rPr lang="ru-RU" sz="2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Тирана</a:t>
            </a:r>
            <a:endParaRPr lang="en-US" sz="2400" strike="noStrike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algn="ctr">
              <a:lnSpc>
                <a:spcPct val="100000"/>
              </a:lnSpc>
            </a:pPr>
            <a:endParaRPr lang="en-US" sz="1800" b="1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0697" y="689433"/>
            <a:ext cx="1390162" cy="14528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43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8" name="Picture 2"/>
          <p:cNvPicPr/>
          <p:nvPr/>
        </p:nvPicPr>
        <p:blipFill>
          <a:blip r:embed="rId7"/>
          <a:stretch/>
        </p:blipFill>
        <p:spPr>
          <a:xfrm>
            <a:off x="0" y="0"/>
            <a:ext cx="9143640" cy="990360"/>
          </a:xfrm>
          <a:prstGeom prst="rect">
            <a:avLst/>
          </a:prstGeom>
          <a:ln w="9360">
            <a:noFill/>
          </a:ln>
        </p:spPr>
      </p:pic>
      <p:sp>
        <p:nvSpPr>
          <p:cNvPr id="79" name="TextShape 1"/>
          <p:cNvSpPr txBox="1"/>
          <p:nvPr/>
        </p:nvSpPr>
        <p:spPr>
          <a:xfrm>
            <a:off x="0" y="1625261"/>
            <a:ext cx="9143640" cy="5232738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Закон об управлении государственными финансами и распределении ответственности в этой сфере предоставляет Казначейству значительную автономию внутри Министерства финансов</a:t>
            </a:r>
            <a:endParaRPr lang="en-US" sz="2800" spc="-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457200" indent="-457200" algn="just">
              <a:buFontTx/>
              <a:buChar char="-"/>
            </a:pPr>
            <a:r>
              <a:rPr lang="ru-RU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Применяет кассовые принципы учета </a:t>
            </a:r>
            <a:r>
              <a:rPr lang="en-US" sz="2800" i="1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ru-RU" sz="2800" i="1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принятые </a:t>
            </a:r>
            <a:r>
              <a:rPr lang="en-US" sz="2800" i="1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PSAS)</a:t>
            </a:r>
            <a:endParaRPr lang="en-US" sz="2800" i="1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457200" indent="-457200" algn="just">
              <a:buFontTx/>
              <a:buChar char="-"/>
            </a:pPr>
            <a:r>
              <a:rPr lang="ru-RU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ействует через Единый казначейский счет</a:t>
            </a:r>
            <a: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1999</a:t>
            </a:r>
            <a:r>
              <a:rPr lang="ru-RU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г.</a:t>
            </a: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sz="2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457200" indent="-457200" algn="just">
              <a:buFontTx/>
              <a:buChar char="-"/>
            </a:pPr>
            <a:r>
              <a:rPr lang="ru-RU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спользует единый план счетов</a:t>
            </a:r>
            <a:endParaRPr lang="en-U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8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Обязанности Казначейства</a:t>
            </a:r>
            <a:r>
              <a:rPr lang="en-US" sz="28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 </a:t>
            </a:r>
            <a:r>
              <a:rPr lang="en-US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– </a:t>
            </a:r>
            <a:r>
              <a:rPr lang="ru-RU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т.н. основные функции</a:t>
            </a:r>
            <a:r>
              <a:rPr lang="en-US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:</a:t>
            </a:r>
          </a:p>
          <a:p>
            <a:pPr marL="914400" lvl="1" indent="-457200" algn="just">
              <a:buFontTx/>
              <a:buChar char="-"/>
            </a:pPr>
            <a:r>
              <a:rPr lang="ru-RU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Учет, отчетность и мониторинг</a:t>
            </a:r>
            <a:endParaRPr lang="en-US" sz="2800" spc="-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914400" lvl="1" indent="-457200" algn="just">
              <a:buFontTx/>
              <a:buChar char="-"/>
            </a:pPr>
            <a:r>
              <a:rPr lang="ru-RU" sz="28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Управление операциями и системой</a:t>
            </a:r>
            <a:r>
              <a:rPr lang="en-US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(</a:t>
            </a:r>
            <a:r>
              <a:rPr lang="ru-RU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КИСФУ</a:t>
            </a:r>
            <a:r>
              <a:rPr lang="en-US" sz="28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</a:t>
            </a:r>
          </a:p>
          <a:p>
            <a:pPr marL="914400" lvl="1" indent="-457200" algn="just">
              <a:buFontTx/>
              <a:buChar char="-"/>
            </a:pPr>
            <a:r>
              <a:rPr lang="ru-RU" sz="28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Управление ликвидностью и долгом</a:t>
            </a:r>
            <a:endParaRPr lang="en-US" sz="10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914400" lvl="1" indent="-457200" algn="just">
              <a:buFontTx/>
              <a:buChar char="-"/>
            </a:pPr>
            <a:r>
              <a:rPr lang="ru-RU" sz="28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ИТ и административная поддержка</a:t>
            </a:r>
            <a:endParaRPr lang="en-US" sz="28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0344" y="1046200"/>
            <a:ext cx="80829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Государственное Казначейство Косово</a:t>
            </a:r>
            <a:endParaRPr lang="sq-AL" sz="2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31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2"/>
          <p:cNvPicPr/>
          <p:nvPr/>
        </p:nvPicPr>
        <p:blipFill>
          <a:blip r:embed="rId2"/>
          <a:stretch/>
        </p:blipFill>
        <p:spPr>
          <a:xfrm>
            <a:off x="0" y="0"/>
            <a:ext cx="9143640" cy="990360"/>
          </a:xfrm>
          <a:prstGeom prst="rect">
            <a:avLst/>
          </a:prstGeom>
          <a:ln w="9360">
            <a:noFill/>
          </a:ln>
        </p:spPr>
      </p:pic>
      <p:sp>
        <p:nvSpPr>
          <p:cNvPr id="79" name="TextShape 1"/>
          <p:cNvSpPr txBox="1"/>
          <p:nvPr/>
        </p:nvSpPr>
        <p:spPr>
          <a:xfrm>
            <a:off x="457199" y="1569420"/>
            <a:ext cx="8156094" cy="4914084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Инструменты мониторинга основаны на вторичных нормативных документах (подзаконных актах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</a:t>
            </a:r>
          </a:p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Показатели для мониторинга эффективности устанавливаются на основе стратегического плана и целей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(</a:t>
            </a:r>
            <a:r>
              <a:rPr lang="ru-RU" sz="2400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колич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. и качеств.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</a:t>
            </a:r>
          </a:p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Основные показатели, рассчитываемые в рамках КИСУФ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:</a:t>
            </a:r>
          </a:p>
          <a:p>
            <a:pPr marL="914400" lvl="1" indent="-457200" algn="just"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Уровень исполнения бюджета по экономическим категориям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. (BI)</a:t>
            </a:r>
          </a:p>
          <a:p>
            <a:pPr marL="914400" lvl="1" indent="-457200" algn="just"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Доля долга в ВВП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(16%) 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лимит 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40%</a:t>
            </a:r>
          </a:p>
          <a:p>
            <a:pPr marL="914400" lvl="1" indent="-457200" algn="just"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Задолженность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/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просрочка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&gt; 30/60 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дней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(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начисленная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: 4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,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2%</a:t>
            </a:r>
          </a:p>
          <a:p>
            <a:pPr marL="914400" lvl="1" indent="-457200" algn="just"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Время обработки транзакции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(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поэтапно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</a:t>
            </a:r>
          </a:p>
          <a:p>
            <a:pPr marL="914400" lvl="1" indent="-457200" algn="just">
              <a:buFontTx/>
              <a:buChar char="-"/>
            </a:pP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D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задержки в исполнении платежей 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(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после 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30 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дней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</a:t>
            </a:r>
          </a:p>
          <a:p>
            <a:pPr marL="914400" lvl="1" indent="-457200" algn="just"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Ошибочная классификация расходов по категориям</a:t>
            </a:r>
            <a:endParaRPr lang="en-US" sz="2400" spc="-1" dirty="0">
              <a:solidFill>
                <a:srgbClr val="FF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914400" lvl="1" indent="-457200" algn="just">
              <a:buFontTx/>
              <a:buChar char="-"/>
            </a:pPr>
            <a:endParaRPr lang="en-US" sz="28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914400" lvl="1" indent="-457200" algn="just">
              <a:buFontTx/>
              <a:buChar char="-"/>
            </a:pPr>
            <a:endParaRPr lang="en-US" sz="28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457200" indent="-457200" algn="just">
              <a:lnSpc>
                <a:spcPct val="100000"/>
              </a:lnSpc>
              <a:buFontTx/>
              <a:buChar char="-"/>
            </a:pPr>
            <a:endParaRPr lang="en-US" sz="2800" b="1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199" y="1046200"/>
            <a:ext cx="80829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струменты мониторинга эффективности</a:t>
            </a:r>
            <a:endParaRPr lang="sq-AL" sz="2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550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2"/>
          <p:cNvPicPr/>
          <p:nvPr/>
        </p:nvPicPr>
        <p:blipFill>
          <a:blip r:embed="rId2"/>
          <a:stretch/>
        </p:blipFill>
        <p:spPr>
          <a:xfrm>
            <a:off x="0" y="0"/>
            <a:ext cx="9143640" cy="990360"/>
          </a:xfrm>
          <a:prstGeom prst="rect">
            <a:avLst/>
          </a:prstGeom>
          <a:ln w="9360">
            <a:noFill/>
          </a:ln>
        </p:spPr>
      </p:pic>
      <p:sp>
        <p:nvSpPr>
          <p:cNvPr id="79" name="TextShape 1"/>
          <p:cNvSpPr txBox="1"/>
          <p:nvPr/>
        </p:nvSpPr>
        <p:spPr>
          <a:xfrm>
            <a:off x="457199" y="1569420"/>
            <a:ext cx="8156094" cy="4914084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Грант за эффективность для местных органов власти 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(38) 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впервые введен в 2018 г.</a:t>
            </a:r>
            <a:endParaRPr lang="en-US" sz="24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400" spc="-1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Софинансирование</a:t>
            </a:r>
            <a:r>
              <a:rPr lang="ru-RU" sz="24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: государственные бюджетные средства и средства 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DEMOS (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швейцарская поддержка сотрудничества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</a:t>
            </a:r>
          </a:p>
          <a:p>
            <a:pPr marL="457200" indent="-457200" algn="just">
              <a:lnSpc>
                <a:spcPct val="100000"/>
              </a:lnSpc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Необходимо обеспечить соответствие минимальным критериям</a:t>
            </a:r>
            <a:r>
              <a:rPr lang="en-US" sz="240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 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(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показателям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:</a:t>
            </a:r>
          </a:p>
          <a:p>
            <a:pPr marL="914400" lvl="1" indent="-457200" algn="just">
              <a:buFontTx/>
              <a:buChar char="-"/>
            </a:pPr>
            <a:r>
              <a:rPr lang="ru-RU" sz="2400" u="sng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Исполнение по расходам минимум </a:t>
            </a:r>
            <a:r>
              <a:rPr lang="en-US" sz="2400" u="sng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75%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от капиталовложений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(n-1)</a:t>
            </a:r>
          </a:p>
          <a:p>
            <a:pPr marL="914400" lvl="1" indent="-457200" algn="just">
              <a:buFontTx/>
              <a:buChar char="-"/>
            </a:pPr>
            <a:r>
              <a:rPr lang="ru-RU" sz="2400" u="sng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Отчет национального управления аудита</a:t>
            </a:r>
            <a:r>
              <a:rPr lang="en-US" sz="2400" u="sng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</a:rPr>
              <a:t> 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(n-1) 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как минимум с неизмененным заключением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(</a:t>
            </a: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с тематическим целевым упором</a:t>
            </a:r>
            <a:r>
              <a:rPr lang="en-US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)</a:t>
            </a:r>
          </a:p>
          <a:p>
            <a:pPr marL="914400" lvl="1" indent="-457200" algn="just">
              <a:buFontTx/>
              <a:buChar char="-"/>
            </a:pPr>
            <a:r>
              <a:rPr lang="ru-RU" sz="2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Отстраненные от должностей муниципальные чиновники в связи с обвинениями</a:t>
            </a:r>
            <a:endParaRPr lang="en-US" sz="24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914400" lvl="1" indent="-457200" algn="just">
              <a:buFontTx/>
              <a:buChar char="-"/>
            </a:pPr>
            <a:endParaRPr lang="en-US" sz="28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914400" lvl="1" indent="-457200" algn="just">
              <a:buFontTx/>
              <a:buChar char="-"/>
            </a:pPr>
            <a:endParaRPr lang="en-US" sz="28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457200" indent="-457200" algn="just">
              <a:lnSpc>
                <a:spcPct val="100000"/>
              </a:lnSpc>
              <a:buFontTx/>
              <a:buChar char="-"/>
            </a:pPr>
            <a:endParaRPr lang="en-US" sz="2800" b="1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199" y="1046200"/>
            <a:ext cx="80829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ru-RU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хема выделения грантов за эффективность</a:t>
            </a:r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овый стимул</a:t>
            </a:r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</a:t>
            </a:r>
            <a:endParaRPr lang="sq-AL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11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989" y="1569420"/>
            <a:ext cx="8229600" cy="4772025"/>
          </a:xfrm>
        </p:spPr>
        <p:txBody>
          <a:bodyPr>
            <a:noAutofit/>
          </a:bodyPr>
          <a:lstStyle/>
          <a:p>
            <a:pPr algn="just"/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Первая оценка 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EFA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(ГРФП)  в 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2007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г.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–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проведена Всемирным банком при поддержке 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FID,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ЕС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МВФ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SIDA,</a:t>
            </a:r>
          </a:p>
          <a:p>
            <a:pPr algn="just"/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(2009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г.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 –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понимая важность оценки 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EFA,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Правительство сформировало координационный комитет и секретариат для проведения оценки 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EFA, </a:t>
            </a:r>
          </a:p>
          <a:p>
            <a:pPr algn="just"/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(2013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г.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 –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будучи приверженным непрерывным реформам в системе государственных финансов, Правительство вновь сформировало координационный комитет и секретариат для проведения оценки 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EFA, </a:t>
            </a:r>
          </a:p>
          <a:p>
            <a:pPr algn="just"/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(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hlinkClick r:id="rId2" action="ppaction://hlinkfile"/>
              </a:rPr>
              <a:t>2015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 –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проведена ЕС при поддержке Правительства</a:t>
            </a:r>
            <a:endParaRPr lang="en-US" sz="2600" dirty="0"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Следующая оценка </a:t>
            </a:r>
            <a:r>
              <a:rPr lang="en-US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EFA </a:t>
            </a:r>
            <a:r>
              <a:rPr lang="ru-RU" sz="2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планируется на </a:t>
            </a:r>
            <a:r>
              <a:rPr lang="en-US" sz="2600" b="1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2018</a:t>
            </a:r>
            <a:r>
              <a:rPr lang="ru-RU" sz="2600" b="1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г.</a:t>
            </a:r>
            <a:endParaRPr lang="en-US" sz="2600" b="1" dirty="0"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algn="just"/>
            <a:endParaRPr lang="en-US" sz="2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2" descr="11111111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457199" y="1046200"/>
            <a:ext cx="80829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ценки </a:t>
            </a:r>
            <a:r>
              <a:rPr lang="en-US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FA</a:t>
            </a:r>
            <a:endParaRPr lang="sq-AL" sz="2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3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391484"/>
              </p:ext>
            </p:extLst>
          </p:nvPr>
        </p:nvGraphicFramePr>
        <p:xfrm>
          <a:off x="3" y="-7"/>
          <a:ext cx="9143998" cy="685800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6246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603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6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63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1830">
                <a:tc gridSpan="2">
                  <a:txBody>
                    <a:bodyPr/>
                    <a:lstStyle/>
                    <a:p>
                      <a:pPr marL="5969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A. </a:t>
                      </a:r>
                      <a:r>
                        <a:rPr lang="ru-RU" sz="600" dirty="0">
                          <a:effectLst/>
                        </a:rPr>
                        <a:t>Надежность бюджета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ейтинг </a:t>
                      </a:r>
                      <a:r>
                        <a:rPr lang="en-US" sz="600" dirty="0">
                          <a:effectLst/>
                        </a:rPr>
                        <a:t>2007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2009 Score</a:t>
                      </a:r>
                    </a:p>
                    <a:p>
                      <a:pPr marL="60325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Scor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2015 Score</a:t>
                      </a:r>
                    </a:p>
                    <a:p>
                      <a:pPr marL="6096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Scor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Общий объем расходов в сравнении с утвержденным бюджетом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404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труктура фактических расходов в сравнении с изначально утвержденным бюджетом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Не оценивается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N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025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3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Общий объем доходов в сравнении с утвержденным бюджетом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94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4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Объем накопленной задолженности по платежам и мониторинг</a:t>
                      </a:r>
                      <a:endParaRPr lang="en-US" sz="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D+</a:t>
                      </a:r>
                      <a:endParaRPr lang="en-US" sz="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B+</a:t>
                      </a:r>
                      <a:endParaRPr lang="en-US" sz="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C+</a:t>
                      </a:r>
                      <a:endParaRPr lang="en-US" sz="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7269">
                <a:tc gridSpan="5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B.</a:t>
                      </a:r>
                      <a:r>
                        <a:rPr lang="ru-RU" sz="600" dirty="0">
                          <a:effectLst/>
                        </a:rPr>
                        <a:t> КОМПЛЕКСНЫЕ ВОПРОСЫ</a:t>
                      </a:r>
                      <a:r>
                        <a:rPr lang="en-US" sz="600" dirty="0">
                          <a:effectLst/>
                        </a:rPr>
                        <a:t>:</a:t>
                      </a:r>
                      <a:r>
                        <a:rPr lang="en-US" sz="600" spc="-140" dirty="0">
                          <a:effectLst/>
                        </a:rPr>
                        <a:t> </a:t>
                      </a:r>
                      <a:r>
                        <a:rPr lang="ru-RU" sz="600" spc="-140" dirty="0">
                          <a:effectLst/>
                        </a:rPr>
                        <a:t> полнота и прозрачность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094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I-5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Бюджетная классификация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6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Полнота информации, включенной в бюджетную документацию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9776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7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Доля незарегистрированных государственных операций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8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Прозрачность межбюджетных отношений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9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Надзор за общими бюджетно-налоговыми рисками со стороны других учреждений госсектора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094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0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Доступ общественности к ключевой бюджетно-налоговой информации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598">
                <a:tc gridSpan="5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C.</a:t>
                      </a:r>
                      <a:r>
                        <a:rPr lang="en-US" sz="600" spc="-115" dirty="0">
                          <a:effectLst/>
                        </a:rPr>
                        <a:t> </a:t>
                      </a:r>
                      <a:r>
                        <a:rPr lang="ru-RU" sz="600" dirty="0">
                          <a:effectLst/>
                        </a:rPr>
                        <a:t>Бюджетный цикл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9776">
                <a:tc gridSpan="5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C(</a:t>
                      </a:r>
                      <a:r>
                        <a:rPr lang="en-US" sz="600" dirty="0" err="1">
                          <a:effectLst/>
                        </a:rPr>
                        <a:t>i</a:t>
                      </a:r>
                      <a:r>
                        <a:rPr lang="en-US" sz="600" dirty="0">
                          <a:effectLst/>
                        </a:rPr>
                        <a:t>) </a:t>
                      </a:r>
                      <a:r>
                        <a:rPr lang="ru-RU" sz="600" dirty="0">
                          <a:effectLst/>
                        </a:rPr>
                        <a:t>Бюджетирование на основе политики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3272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1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Упорядоченность годового бюджетного процесса и участие в нем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630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2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Многолетнее прогнозирование в </a:t>
                      </a:r>
                      <a:r>
                        <a:rPr lang="ru-RU" sz="600" dirty="0" err="1">
                          <a:effectLst/>
                        </a:rPr>
                        <a:t>бюджетно</a:t>
                      </a:r>
                      <a:r>
                        <a:rPr lang="ru-RU" sz="600" dirty="0">
                          <a:effectLst/>
                        </a:rPr>
                        <a:t>—налоговом планировании, планировании расходов, формировании политик и бюджетировании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3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3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3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9776">
                <a:tc gridSpan="5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C(ii)</a:t>
                      </a:r>
                      <a:r>
                        <a:rPr lang="en-US" sz="600" spc="-100" dirty="0">
                          <a:effectLst/>
                        </a:rPr>
                        <a:t> </a:t>
                      </a:r>
                      <a:r>
                        <a:rPr lang="ru-RU" sz="600" spc="-100" dirty="0">
                          <a:effectLst/>
                        </a:rPr>
                        <a:t>Предсказуемость т </a:t>
                      </a:r>
                      <a:r>
                        <a:rPr lang="ru-RU" sz="600" dirty="0">
                          <a:effectLst/>
                        </a:rPr>
                        <a:t> и механизмы контроля за исполнением бюджета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3272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3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Прозрачность обязательств налогоплательщиков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6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6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6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4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Эффективность регистрации налогоплательщиков и меры налоговой оценки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5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Эффективность сбора налоговых платежей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6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Предсказуемость объема средств, доступных для финансирования расходных обязательств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7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егистрация остатков наличности,  долга и гарантий и управление ими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094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8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Эффективность механизмов контроля фондов заработной платы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19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Контроль конкуренции, цены и качества и закупок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Не оценивается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N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0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Эффективность внутреннего контроля за </a:t>
                      </a:r>
                      <a:r>
                        <a:rPr lang="ru-RU" sz="600" dirty="0" err="1">
                          <a:effectLst/>
                        </a:rPr>
                        <a:t>незарплатными</a:t>
                      </a:r>
                      <a:r>
                        <a:rPr lang="ru-RU" sz="600" dirty="0">
                          <a:effectLst/>
                        </a:rPr>
                        <a:t> расходами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1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Эффективность внутреннего аудита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60358">
                <a:tc gridSpan="5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C(iii)</a:t>
                      </a:r>
                      <a:r>
                        <a:rPr lang="en-US" sz="600" spc="-145" dirty="0">
                          <a:effectLst/>
                        </a:rPr>
                        <a:t> </a:t>
                      </a:r>
                      <a:r>
                        <a:rPr lang="ru-RU" sz="600" spc="-145" dirty="0">
                          <a:effectLst/>
                        </a:rPr>
                        <a:t> </a:t>
                      </a:r>
                      <a:r>
                        <a:rPr lang="ru-RU" sz="600" dirty="0">
                          <a:effectLst/>
                        </a:rPr>
                        <a:t>Учет, регистрация и отчетность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6269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3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2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3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воевременность и упорядоченность сверки счетов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3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Наличие информации о ресурсах, получаемых  поставщиками услуг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4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Качество и своевременность бюджетных отчетов в течение года</a:t>
                      </a:r>
                      <a:r>
                        <a:rPr lang="en-US" sz="600" dirty="0">
                          <a:effectLst/>
                        </a:rPr>
                        <a:t>.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6094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5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Качество и своевременность годовых финансовых отчетов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9776">
                <a:tc gridSpan="5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C</a:t>
                      </a:r>
                      <a:r>
                        <a:rPr lang="en-US" sz="600" spc="-90" dirty="0">
                          <a:effectLst/>
                        </a:rPr>
                        <a:t> </a:t>
                      </a:r>
                      <a:r>
                        <a:rPr lang="en-US" sz="600" dirty="0">
                          <a:effectLst/>
                        </a:rPr>
                        <a:t>(iv)</a:t>
                      </a:r>
                      <a:r>
                        <a:rPr lang="en-US" sz="600" spc="-95" dirty="0">
                          <a:effectLst/>
                        </a:rPr>
                        <a:t> </a:t>
                      </a:r>
                      <a:r>
                        <a:rPr lang="ru-RU" sz="600" spc="-95" dirty="0">
                          <a:effectLst/>
                        </a:rPr>
                        <a:t>Внешний контроль и аудит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63272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6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Диапазон и суть последующего контроля внешних органов аудита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5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60358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7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159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Изучение парламентом ежегодного закона о бюджете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3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3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3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158609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PI-28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Анализ отчетов внешних аудиторов законодательной властью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C+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B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176683">
                <a:tc gridSpan="5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D.</a:t>
                      </a:r>
                      <a:r>
                        <a:rPr lang="en-US" sz="600" spc="-165" dirty="0">
                          <a:effectLst/>
                        </a:rPr>
                        <a:t> </a:t>
                      </a:r>
                      <a:r>
                        <a:rPr lang="ru-RU" sz="600" dirty="0">
                          <a:effectLst/>
                        </a:rPr>
                        <a:t> ДОНОРСКИЕ  ПОДХОДЫ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160940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2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-1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l">
                        <a:spcBef>
                          <a:spcPts val="2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Предсказуемость прямой бюджетной поддержки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NR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NA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  <a:tr h="177459">
                <a:tc>
                  <a:txBody>
                    <a:bodyPr/>
                    <a:lstStyle/>
                    <a:p>
                      <a:pPr marL="59690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-2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59690" algn="l">
                        <a:lnSpc>
                          <a:spcPct val="117000"/>
                        </a:lnSpc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Финансовая информация, предоставляемая донорами для бюджетирования и отчетности по содействию в реализации проектов и программ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NR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960" marR="0" algn="ctr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7"/>
                  </a:ext>
                </a:extLst>
              </a:tr>
              <a:tr h="331212"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-3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l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Доля финансовой помощи, управляемой при помощи национальных процедур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NR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>
                          <a:effectLst/>
                        </a:rPr>
                        <a:t>D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marR="0" algn="ctr">
                        <a:spcBef>
                          <a:spcPts val="15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D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8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84382" y="1600200"/>
            <a:ext cx="1505563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10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o70DUEQwm2it7vESY4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3954</TotalTime>
  <Words>790</Words>
  <Application>Microsoft Office PowerPoint</Application>
  <PresentationFormat>On-screen Show (4:3)</PresentationFormat>
  <Paragraphs>20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DejaVu Sans</vt:lpstr>
      <vt:lpstr>Symbol</vt:lpstr>
      <vt:lpstr>Times New Roman</vt:lpstr>
      <vt:lpstr>Verdana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e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MPAL TCOP</dc:title>
  <dc:subject/>
  <dc:creator>ahmetismaili</dc:creator>
  <dc:description/>
  <cp:lastModifiedBy>Alexander Rezanov</cp:lastModifiedBy>
  <cp:revision>373</cp:revision>
  <dcterms:created xsi:type="dcterms:W3CDTF">2013-07-16T10:44:38Z</dcterms:created>
  <dcterms:modified xsi:type="dcterms:W3CDTF">2018-05-31T09:25:07Z</dcterms:modified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5.0000</vt:lpwstr>
  </property>
  <property fmtid="{D5CDD505-2E9C-101B-9397-08002B2CF9AE}" pid="3" name="Company">
    <vt:lpwstr>mef</vt:lpwstr>
  </property>
  <property fmtid="{D5CDD505-2E9C-101B-9397-08002B2CF9AE}" pid="4" name="HiddenSlides">
    <vt:i4>0</vt:i4>
  </property>
  <property fmtid="{D5CDD505-2E9C-101B-9397-08002B2CF9AE}" pid="5" name="HyperlinksChanged">
    <vt:bool>false</vt:bool>
  </property>
  <property fmtid="{D5CDD505-2E9C-101B-9397-08002B2CF9AE}" pid="6" name="LinksUpToDate">
    <vt:bool>false</vt:bool>
  </property>
  <property fmtid="{D5CDD505-2E9C-101B-9397-08002B2CF9AE}" pid="7" name="MMClips">
    <vt:i4>0</vt:i4>
  </property>
  <property fmtid="{D5CDD505-2E9C-101B-9397-08002B2CF9AE}" pid="8" name="Notes">
    <vt:i4>0</vt:i4>
  </property>
  <property fmtid="{D5CDD505-2E9C-101B-9397-08002B2CF9AE}" pid="9" name="PresentationFormat">
    <vt:lpwstr>On-screen Show (4:3)</vt:lpwstr>
  </property>
  <property fmtid="{D5CDD505-2E9C-101B-9397-08002B2CF9AE}" pid="10" name="ScaleCrop">
    <vt:bool>false</vt:bool>
  </property>
  <property fmtid="{D5CDD505-2E9C-101B-9397-08002B2CF9AE}" pid="11" name="ShareDoc">
    <vt:bool>false</vt:bool>
  </property>
  <property fmtid="{D5CDD505-2E9C-101B-9397-08002B2CF9AE}" pid="12" name="Slides">
    <vt:i4>9</vt:i4>
  </property>
</Properties>
</file>